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5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6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7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8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0.xml" ContentType="application/vnd.openxmlformats-officedocument.theme+xml"/>
  <Override PartName="/ppt/slideLayouts/slideLayout67.xml" ContentType="application/vnd.openxmlformats-officedocument.presentationml.slideLayout+xml"/>
  <Override PartName="/ppt/theme/theme11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2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54" r:id="rId4"/>
    <p:sldMasterId id="2147483648" r:id="rId5"/>
    <p:sldMasterId id="2147483659" r:id="rId6"/>
    <p:sldMasterId id="2147483755" r:id="rId7"/>
    <p:sldMasterId id="2147483763" r:id="rId8"/>
    <p:sldMasterId id="2147483779" r:id="rId9"/>
    <p:sldMasterId id="2147483730" r:id="rId10"/>
    <p:sldMasterId id="2147483738" r:id="rId11"/>
    <p:sldMasterId id="2147483722" r:id="rId12"/>
    <p:sldMasterId id="2147483746" r:id="rId13"/>
    <p:sldMasterId id="2147483675" r:id="rId14"/>
    <p:sldMasterId id="2147483787" r:id="rId15"/>
    <p:sldMasterId id="2147483798" r:id="rId16"/>
  </p:sldMasterIdLst>
  <p:notesMasterIdLst>
    <p:notesMasterId r:id="rId24"/>
  </p:notesMasterIdLst>
  <p:handoutMasterIdLst>
    <p:handoutMasterId r:id="rId25"/>
  </p:handoutMasterIdLst>
  <p:sldIdLst>
    <p:sldId id="351" r:id="rId17"/>
    <p:sldId id="352" r:id="rId18"/>
    <p:sldId id="384" r:id="rId19"/>
    <p:sldId id="404" r:id="rId20"/>
    <p:sldId id="407" r:id="rId21"/>
    <p:sldId id="408" r:id="rId22"/>
    <p:sldId id="409" r:id="rId23"/>
  </p:sldIdLst>
  <p:sldSz cx="9144000" cy="6858000" type="screen4x3"/>
  <p:notesSz cx="6834188" cy="9979025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99"/>
    <a:srgbClr val="FF9966"/>
    <a:srgbClr val="86BAF4"/>
    <a:srgbClr val="FFFF99"/>
    <a:srgbClr val="0000FF"/>
    <a:srgbClr val="FF3399"/>
    <a:srgbClr val="66FF66"/>
    <a:srgbClr val="99CCFF"/>
    <a:srgbClr val="A5B9B3"/>
    <a:srgbClr val="BB97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82" autoAdjust="0"/>
    <p:restoredTop sz="93250" autoAdjust="0"/>
  </p:normalViewPr>
  <p:slideViewPr>
    <p:cSldViewPr snapToGrid="0">
      <p:cViewPr>
        <p:scale>
          <a:sx n="70" d="100"/>
          <a:sy n="70" d="100"/>
        </p:scale>
        <p:origin x="-1680" y="-60"/>
      </p:cViewPr>
      <p:guideLst>
        <p:guide orient="horz" pos="1252"/>
        <p:guide orient="horz" pos="809"/>
        <p:guide orient="horz" pos="3861"/>
        <p:guide pos="2880"/>
        <p:guide pos="27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65" d="100"/>
          <a:sy n="65" d="100"/>
        </p:scale>
        <p:origin x="-2322" y="-72"/>
      </p:cViewPr>
      <p:guideLst>
        <p:guide orient="horz" pos="3143"/>
        <p:guide pos="215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22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71913" y="0"/>
            <a:ext cx="2960687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32AD0D-FCE4-4AC3-80E4-391363750BC0}" type="datetimeFigureOut">
              <a:rPr lang="sv-SE" sz="1100" smtClean="0">
                <a:latin typeface="Arial" pitchFamily="34" charset="0"/>
                <a:cs typeface="Arial" pitchFamily="34" charset="0"/>
              </a:rPr>
              <a:t>2018-01-05</a:t>
            </a:fld>
            <a:endParaRPr lang="sv-S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78963"/>
            <a:ext cx="29622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71913" y="9478963"/>
            <a:ext cx="2960687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EFD27F-DCDB-4D3B-B6DE-946B7D4F34DB}" type="slidenum">
              <a:rPr lang="sv-SE" sz="1100" smtClean="0">
                <a:latin typeface="Arial" pitchFamily="34" charset="0"/>
                <a:cs typeface="Arial" pitchFamily="34" charset="0"/>
              </a:rPr>
              <a:t>‹#›</a:t>
            </a:fld>
            <a:endParaRPr lang="sv-SE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38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71125" y="0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fld id="{B35A79AD-8434-4456-9B6E-2D4F4A74A796}" type="datetimeFigureOut">
              <a:rPr lang="sv-SE" smtClean="0"/>
              <a:pPr/>
              <a:t>2018-01-05</a:t>
            </a:fld>
            <a:endParaRPr lang="sv-S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7713"/>
            <a:ext cx="4991100" cy="3743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3419" y="4740037"/>
            <a:ext cx="5467350" cy="44905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78342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endParaRPr lang="sv-S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71125" y="9478342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fld id="{68186CD8-2B5F-47D2-B024-698315872481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44230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5627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Rectangle 6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4833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55548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0167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86305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9227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033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7239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22079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1867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376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29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1537146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1806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3800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135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84098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3157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824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1860307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593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3644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5450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8239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637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0738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8645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2065263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0008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991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80310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6747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8144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351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1011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1227082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91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0317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3836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8827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1853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8419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410895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16487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4249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6109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0961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97778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1665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4808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89370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121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7073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3036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0445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5365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78221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8571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2569238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48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1362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1425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3185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177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13524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Department, Name, Document name, Security Cla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Dat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3926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6" y="1989138"/>
            <a:ext cx="86519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75043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026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Department, Name, Document name, Security Cla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Dat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7344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Department, Name, Document name, Security Cla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Dat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85118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Department, Name, Document name, Security Cla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Date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298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Department, Name, Document name, Security Cla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Date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832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Department, Name, Document name, Security Cla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Dat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6" y="1989138"/>
            <a:ext cx="86519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75043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964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Half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Department, Name, Document name, Security Cla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Dat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9088" y="349884"/>
            <a:ext cx="3961967" cy="11430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4572000" y="-1"/>
            <a:ext cx="4572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27487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Three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Department, Name, Document name, Security Cla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Dat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4100950"/>
            <a:ext cx="4572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third picture</a:t>
            </a:r>
            <a:endParaRPr lang="en-US" noProof="0" dirty="0"/>
          </a:p>
        </p:txBody>
      </p:sp>
      <p:sp>
        <p:nvSpPr>
          <p:cNvPr id="9" name="Rectangle 6"/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first picture</a:t>
            </a:r>
            <a:endParaRPr lang="en-US" noProof="0" dirty="0"/>
          </a:p>
        </p:txBody>
      </p:sp>
      <p:sp>
        <p:nvSpPr>
          <p:cNvPr id="10" name="Rectangle 6"/>
          <p:cNvSpPr>
            <a:spLocks noGrp="1"/>
          </p:cNvSpPr>
          <p:nvPr>
            <p:ph type="pic" sz="quarter" idx="16" hasCustomPrompt="1"/>
          </p:nvPr>
        </p:nvSpPr>
        <p:spPr>
          <a:xfrm>
            <a:off x="4572000" y="2052275"/>
            <a:ext cx="4572000" cy="20232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secon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9088" y="349884"/>
            <a:ext cx="3961967" cy="11430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9823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Department, Name, Document name, Security Cla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Dat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660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3619381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4"/>
          <p:cNvPicPr preferRelativeResize="0"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689100" y="1965328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McK Title Elements" hidden="1"/>
          <p:cNvGrpSpPr/>
          <p:nvPr userDrawn="1"/>
        </p:nvGrpSpPr>
        <p:grpSpPr bwMode="gray">
          <a:xfrm>
            <a:off x="1689100" y="5527327"/>
            <a:ext cx="5036085" cy="494022"/>
            <a:chOff x="1689100" y="5527327"/>
            <a:chExt cx="5036085" cy="494022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89100" y="5527327"/>
              <a:ext cx="5036085" cy="2202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89100" y="5801064"/>
              <a:ext cx="5036085" cy="2202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689102" y="3404037"/>
            <a:ext cx="5864640" cy="5078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3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689103" y="4609686"/>
            <a:ext cx="5864640" cy="219820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75876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753518" y="6672387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137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Half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9088" y="349884"/>
            <a:ext cx="3961967" cy="11430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4572000" y="-1"/>
            <a:ext cx="4572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7974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Three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noProof="0" smtClean="0"/>
              <a:t>2014Q1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4100950"/>
            <a:ext cx="4572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third picture</a:t>
            </a:r>
            <a:endParaRPr lang="en-US" noProof="0" dirty="0"/>
          </a:p>
        </p:txBody>
      </p:sp>
      <p:sp>
        <p:nvSpPr>
          <p:cNvPr id="9" name="Rectangle 6"/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first picture</a:t>
            </a:r>
            <a:endParaRPr lang="en-US" noProof="0" dirty="0"/>
          </a:p>
        </p:txBody>
      </p:sp>
      <p:sp>
        <p:nvSpPr>
          <p:cNvPr id="10" name="Rectangle 6"/>
          <p:cNvSpPr>
            <a:spLocks noGrp="1"/>
          </p:cNvSpPr>
          <p:nvPr>
            <p:ph type="pic" sz="quarter" idx="16" hasCustomPrompt="1"/>
          </p:nvPr>
        </p:nvSpPr>
        <p:spPr>
          <a:xfrm>
            <a:off x="4572000" y="2052275"/>
            <a:ext cx="4572000" cy="20232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secon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9088" y="349884"/>
            <a:ext cx="3961967" cy="11430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05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64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63.xml"/><Relationship Id="rId9" Type="http://schemas.openxmlformats.org/officeDocument/2006/relationships/image" Target="../media/image10.jpeg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6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2.wmf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79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78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wmf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12.jpeg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1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4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5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6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43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7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9.xml"/><Relationship Id="rId9" Type="http://schemas.openxmlformats.org/officeDocument/2006/relationships/image" Target="../media/image8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 dirty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dirty="0" smtClean="0"/>
              <a:t>Volvo Group PDM Academy</a:t>
            </a:r>
            <a:endParaRPr lang="en-US" sz="900" noProof="0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8865338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3" descr="Volvo_Trucks_Eicher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 dirty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dirty="0" smtClean="0"/>
              <a:t>Volvo Group Trucks Technology</a:t>
            </a:r>
            <a:endParaRPr lang="en-US" sz="900" noProof="0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355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925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Department, Name, Document name, Security Cla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100" b="1" dirty="0" smtClean="0">
                <a:solidFill>
                  <a:srgbClr val="000000"/>
                </a:solidFill>
              </a:rPr>
              <a:t>Volvo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Date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313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4705465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15"/>
          <p:cNvGrpSpPr>
            <a:grpSpLocks/>
          </p:cNvGrpSpPr>
          <p:nvPr/>
        </p:nvGrpSpPr>
        <p:grpSpPr bwMode="gray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23" name="Picture 16" descr="grått band nertill"/>
            <p:cNvPicPr>
              <a:picLocks noChangeAspect="1" noChangeArrowheads="1"/>
            </p:cNvPicPr>
            <p:nvPr userDrawn="1"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Line 17"/>
            <p:cNvSpPr>
              <a:spLocks noChangeShapeType="1"/>
            </p:cNvSpPr>
            <p:nvPr userDrawn="1"/>
          </p:nvSpPr>
          <p:spPr bwMode="gray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pic>
          <p:nvPicPr>
            <p:cNvPr id="25" name="Picture 18"/>
            <p:cNvPicPr>
              <a:picLocks noChangeAspect="1" noChangeArrowheads="1"/>
            </p:cNvPicPr>
            <p:nvPr userDrawn="1"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2248776" y="2508985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728" y="281045"/>
            <a:ext cx="8574087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33972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339728" y="662689"/>
            <a:ext cx="857408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/>
          <p:nvPr/>
        </p:nvGrpSpPr>
        <p:grpSpPr bwMode="gray">
          <a:xfrm>
            <a:off x="339728" y="6470082"/>
            <a:ext cx="7432675" cy="354191"/>
            <a:chOff x="339725" y="5743003"/>
            <a:chExt cx="8574087" cy="35419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339725" y="5743003"/>
              <a:ext cx="8574087" cy="157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339725" y="5940180"/>
              <a:ext cx="8574087" cy="157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74513" indent="-474513" defTabSz="913235" fontAlgn="base">
                <a:spcBef>
                  <a:spcPct val="0"/>
                </a:spcBef>
                <a:spcAft>
                  <a:spcPct val="0"/>
                </a:spcAft>
                <a:tabLst>
                  <a:tab pos="474513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248776" y="1927496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7" name="Rectangle 21"/>
          <p:cNvSpPr>
            <a:spLocks noChangeArrowheads="1"/>
          </p:cNvSpPr>
          <p:nvPr/>
        </p:nvSpPr>
        <p:spPr bwMode="gray">
          <a:xfrm>
            <a:off x="339728" y="6256341"/>
            <a:ext cx="179536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v-SE" sz="1100" b="1" dirty="0" smtClean="0">
                <a:solidFill>
                  <a:srgbClr val="000000"/>
                </a:solidFill>
              </a:rPr>
              <a:t>Volvo Group Headquarters</a:t>
            </a:r>
            <a:endParaRPr lang="sv-SE" sz="1100" b="1" dirty="0">
              <a:solidFill>
                <a:srgbClr val="000000"/>
              </a:solidFill>
            </a:endParaRPr>
          </a:p>
        </p:txBody>
      </p:sp>
      <p:grpSp>
        <p:nvGrpSpPr>
          <p:cNvPr id="31" name="LegendBoxes" hidden="1"/>
          <p:cNvGrpSpPr>
            <a:grpSpLocks/>
          </p:cNvGrpSpPr>
          <p:nvPr/>
        </p:nvGrpSpPr>
        <p:grpSpPr bwMode="gray">
          <a:xfrm>
            <a:off x="8150228" y="360076"/>
            <a:ext cx="774701" cy="1001714"/>
            <a:chOff x="4936" y="176"/>
            <a:chExt cx="488" cy="631"/>
          </a:xfrm>
        </p:grpSpPr>
        <p:sp>
          <p:nvSpPr>
            <p:cNvPr id="32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5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0" name="LegendLines" hidden="1"/>
          <p:cNvGrpSpPr>
            <a:grpSpLocks/>
          </p:cNvGrpSpPr>
          <p:nvPr/>
        </p:nvGrpSpPr>
        <p:grpSpPr bwMode="gray">
          <a:xfrm>
            <a:off x="7842251" y="360076"/>
            <a:ext cx="1082676" cy="735014"/>
            <a:chOff x="4750" y="176"/>
            <a:chExt cx="682" cy="463"/>
          </a:xfrm>
        </p:grpSpPr>
        <p:sp>
          <p:nvSpPr>
            <p:cNvPr id="41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42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43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7" name="McKSticker" hidden="1"/>
          <p:cNvGrpSpPr/>
          <p:nvPr/>
        </p:nvGrpSpPr>
        <p:grpSpPr bwMode="gray">
          <a:xfrm>
            <a:off x="7825185" y="360076"/>
            <a:ext cx="1088630" cy="216680"/>
            <a:chOff x="7652145" y="285750"/>
            <a:chExt cx="1088630" cy="216680"/>
          </a:xfrm>
        </p:grpSpPr>
        <p:sp>
          <p:nvSpPr>
            <p:cNvPr id="48" name="StickerRectangle"/>
            <p:cNvSpPr>
              <a:spLocks noChangeArrowheads="1"/>
            </p:cNvSpPr>
            <p:nvPr/>
          </p:nvSpPr>
          <p:spPr bwMode="gray">
            <a:xfrm>
              <a:off x="7652145" y="285750"/>
              <a:ext cx="1088630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9" name="AutoShape 31"/>
            <p:cNvCxnSpPr>
              <a:cxnSpLocks noChangeShapeType="1"/>
              <a:stCxn id="48" idx="2"/>
              <a:endCxn id="48" idx="4"/>
            </p:cNvCxnSpPr>
            <p:nvPr/>
          </p:nvCxnSpPr>
          <p:spPr bwMode="gray">
            <a:xfrm>
              <a:off x="7652145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0" name="AutoShape 32"/>
            <p:cNvCxnSpPr>
              <a:cxnSpLocks noChangeShapeType="1"/>
              <a:stCxn id="48" idx="4"/>
              <a:endCxn id="48" idx="6"/>
            </p:cNvCxnSpPr>
            <p:nvPr/>
          </p:nvCxnSpPr>
          <p:spPr bwMode="gray">
            <a:xfrm>
              <a:off x="7652145" y="502430"/>
              <a:ext cx="108863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1" name="LegendMoons" hidden="1"/>
          <p:cNvGrpSpPr/>
          <p:nvPr/>
        </p:nvGrpSpPr>
        <p:grpSpPr bwMode="gray">
          <a:xfrm>
            <a:off x="8083388" y="360079"/>
            <a:ext cx="840815" cy="1306516"/>
            <a:chOff x="7769225" y="2105025"/>
            <a:chExt cx="840815" cy="1306516"/>
          </a:xfrm>
        </p:grpSpPr>
        <p:grpSp>
          <p:nvGrpSpPr>
            <p:cNvPr id="52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0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3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4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7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8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9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16161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1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3577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tabLst>
          <a:tab pos="27526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 dirty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dirty="0" smtClean="0"/>
              <a:t>Volvo Group PDM Academy</a:t>
            </a:r>
            <a:endParaRPr lang="en-US" sz="900" noProof="0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3242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01_VolvoAB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 dirty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dirty="0" smtClean="0"/>
              <a:t>Volvo Group Trucks Technology</a:t>
            </a:r>
            <a:endParaRPr lang="en-US" sz="900" noProof="0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0898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10_Trucks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 dirty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dirty="0" smtClean="0"/>
              <a:t>Volvo Group Trucks Technology</a:t>
            </a:r>
            <a:endParaRPr lang="en-US" sz="900" noProof="0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7281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3" descr="01_VolvoAB_IronMark_ppt_V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 dirty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dirty="0" smtClean="0"/>
              <a:t>Volvo Group Trucks Technology</a:t>
            </a:r>
            <a:endParaRPr lang="en-US" sz="900" noProof="0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9234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06_Trucks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0550" y="-9525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 dirty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dirty="0" smtClean="0"/>
              <a:t>Volvo Group Trucks Technology</a:t>
            </a:r>
            <a:endParaRPr lang="en-US" sz="900" noProof="0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2561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01_Trucks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0550" y="-9525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 dirty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dirty="0" smtClean="0"/>
              <a:t>Volvo Group Trucks Technology</a:t>
            </a:r>
            <a:endParaRPr lang="en-US" sz="900" noProof="0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1719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6" descr="02_Trucks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 dirty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dirty="0" smtClean="0"/>
              <a:t>Volvo Group Trucks Technology</a:t>
            </a:r>
            <a:endParaRPr lang="en-US" sz="900" noProof="0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7105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850" y="-5742"/>
            <a:ext cx="6026150" cy="61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 dirty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Department, Name, Document name, Security Class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dirty="0" smtClean="0"/>
              <a:t>Volvo Group Trucks Technology</a:t>
            </a:r>
            <a:endParaRPr lang="en-US" sz="900" noProof="0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dirty="0" smtClean="0"/>
              <a:t>2014Q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7001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89100" y="3049195"/>
            <a:ext cx="5864640" cy="507831"/>
          </a:xfrm>
        </p:spPr>
        <p:txBody>
          <a:bodyPr/>
          <a:lstStyle/>
          <a:p>
            <a:r>
              <a:rPr lang="en-US" dirty="0" smtClean="0"/>
              <a:t> </a:t>
            </a:r>
            <a:r>
              <a:rPr lang="pl-PL" dirty="0" smtClean="0">
                <a:latin typeface="+mn-lt"/>
              </a:rPr>
              <a:t>EDW – Data Quality</a:t>
            </a:r>
            <a:endParaRPr lang="en-US" dirty="0">
              <a:latin typeface="+mn-lt"/>
            </a:endParaRPr>
          </a:p>
        </p:txBody>
      </p:sp>
      <p:sp>
        <p:nvSpPr>
          <p:cNvPr id="6" name="McK Date"/>
          <p:cNvSpPr txBox="1">
            <a:spLocks noChangeArrowheads="1"/>
          </p:cNvSpPr>
          <p:nvPr/>
        </p:nvSpPr>
        <p:spPr bwMode="gray">
          <a:xfrm>
            <a:off x="1839226" y="6360622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000000"/>
                </a:solidFill>
                <a:latin typeface="Arial"/>
              </a:rPr>
              <a:t>201</a:t>
            </a:r>
            <a:r>
              <a:rPr lang="pl-PL" sz="1400" dirty="0" smtClean="0">
                <a:solidFill>
                  <a:srgbClr val="000000"/>
                </a:solidFill>
                <a:latin typeface="Arial"/>
              </a:rPr>
              <a:t>8</a:t>
            </a:r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93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339725" y="6592579"/>
            <a:ext cx="503238" cy="207963"/>
          </a:xfrm>
        </p:spPr>
        <p:txBody>
          <a:bodyPr/>
          <a:lstStyle/>
          <a:p>
            <a:fld id="{394AB315-E20E-4D83-BD01-AD3F862EE5EA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3385983" y="1067526"/>
            <a:ext cx="4455399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CC6600"/>
                    </a:gs>
                    <a:gs pos="100000">
                      <a:srgbClr val="5E2F00"/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457200" indent="-457200" defTabSz="241300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24130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2413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2413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2413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2413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2413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2413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2413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chemeClr val="tx2"/>
              </a:buClr>
              <a:buFontTx/>
              <a:buAutoNum type="arabicPeriod"/>
            </a:pPr>
            <a:r>
              <a:rPr lang="pl-PL" sz="2400" dirty="0" smtClean="0">
                <a:solidFill>
                  <a:schemeClr val="tx2"/>
                </a:solidFill>
                <a:latin typeface="+mn-lt"/>
                <a:cs typeface="Arial" charset="0"/>
              </a:rPr>
              <a:t>Reasons</a:t>
            </a:r>
            <a:endParaRPr lang="en-US" sz="2400" dirty="0" smtClean="0">
              <a:solidFill>
                <a:schemeClr val="tx2"/>
              </a:solidFill>
              <a:latin typeface="+mn-lt"/>
              <a:cs typeface="Arial" charset="0"/>
            </a:endParaRPr>
          </a:p>
          <a:p>
            <a:pPr>
              <a:buClr>
                <a:schemeClr val="tx2"/>
              </a:buClr>
              <a:buFontTx/>
              <a:buAutoNum type="arabicPeriod"/>
            </a:pPr>
            <a:endParaRPr lang="en-US" sz="2400" dirty="0">
              <a:solidFill>
                <a:schemeClr val="tx2"/>
              </a:solidFill>
              <a:latin typeface="+mn-lt"/>
              <a:cs typeface="Arial" charset="0"/>
            </a:endParaRPr>
          </a:p>
          <a:p>
            <a:pPr>
              <a:buClr>
                <a:schemeClr val="tx2"/>
              </a:buClr>
              <a:buFontTx/>
              <a:buAutoNum type="arabicPeriod"/>
            </a:pPr>
            <a:r>
              <a:rPr lang="pl-PL" sz="2400" dirty="0" smtClean="0">
                <a:solidFill>
                  <a:schemeClr val="tx2"/>
                </a:solidFill>
                <a:latin typeface="+mn-lt"/>
                <a:cs typeface="Arial" charset="0"/>
              </a:rPr>
              <a:t>Data quality areas:</a:t>
            </a:r>
          </a:p>
          <a:p>
            <a:pPr marL="914400" lvl="1" indent="-457200">
              <a:buClr>
                <a:schemeClr val="tx2"/>
              </a:buClr>
              <a:buFont typeface="+mj-lt"/>
              <a:buAutoNum type="alphaLcParenR"/>
            </a:pPr>
            <a:r>
              <a:rPr lang="pl-PL" sz="2400" dirty="0" smtClean="0">
                <a:solidFill>
                  <a:schemeClr val="tx2"/>
                </a:solidFill>
                <a:latin typeface="+mn-lt"/>
                <a:cs typeface="Arial" charset="0"/>
              </a:rPr>
              <a:t>Data Vault</a:t>
            </a:r>
          </a:p>
          <a:p>
            <a:pPr marL="914400" lvl="1" indent="-457200">
              <a:buClr>
                <a:schemeClr val="tx2"/>
              </a:buClr>
              <a:buFont typeface="+mj-lt"/>
              <a:buAutoNum type="alphaLcParenR"/>
            </a:pPr>
            <a:r>
              <a:rPr lang="pl-PL" sz="2400" dirty="0" smtClean="0">
                <a:solidFill>
                  <a:schemeClr val="tx2"/>
                </a:solidFill>
                <a:latin typeface="+mn-lt"/>
                <a:cs typeface="Arial" charset="0"/>
              </a:rPr>
              <a:t>Data Mart</a:t>
            </a:r>
            <a:endParaRPr lang="en-US" sz="2400" dirty="0" smtClean="0">
              <a:solidFill>
                <a:schemeClr val="tx2"/>
              </a:solidFill>
              <a:latin typeface="+mn-lt"/>
              <a:cs typeface="Arial" charset="0"/>
            </a:endParaRPr>
          </a:p>
          <a:p>
            <a:pPr>
              <a:buClr>
                <a:schemeClr val="tx2"/>
              </a:buClr>
              <a:buFontTx/>
              <a:buAutoNum type="arabicPeriod"/>
            </a:pPr>
            <a:endParaRPr lang="en-US" sz="2400" dirty="0" smtClean="0">
              <a:solidFill>
                <a:schemeClr val="tx2"/>
              </a:solidFill>
              <a:latin typeface="+mn-lt"/>
              <a:cs typeface="Arial" charset="0"/>
            </a:endParaRPr>
          </a:p>
          <a:p>
            <a:pPr>
              <a:buClr>
                <a:schemeClr val="tx2"/>
              </a:buClr>
              <a:buFontTx/>
              <a:buAutoNum type="arabicPeriod"/>
            </a:pPr>
            <a:r>
              <a:rPr lang="pl-PL" sz="2400" dirty="0" smtClean="0">
                <a:solidFill>
                  <a:schemeClr val="tx2"/>
                </a:solidFill>
                <a:cs typeface="Arial" charset="0"/>
              </a:rPr>
              <a:t>Data quality benefits</a:t>
            </a: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H="1">
            <a:off x="3414617" y="1063320"/>
            <a:ext cx="0" cy="26818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dirty="0"/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auto">
          <a:xfrm>
            <a:off x="2100573" y="1063321"/>
            <a:ext cx="11509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b="0" dirty="0" smtClean="0"/>
              <a:t>Content</a:t>
            </a:r>
          </a:p>
        </p:txBody>
      </p:sp>
      <p:pic>
        <p:nvPicPr>
          <p:cNvPr id="12" name="Picture 11" descr="business,clerical,envelopes,fotolia,junk mails,posts,stacked,stationary"/>
          <p:cNvPicPr>
            <a:picLocks noChangeAspect="1" noChangeArrowheads="1"/>
          </p:cNvPicPr>
          <p:nvPr/>
        </p:nvPicPr>
        <p:blipFill>
          <a:blip r:embed="rId2" cstate="print"/>
          <a:srcRect t="14709" b="19384"/>
          <a:stretch>
            <a:fillRect/>
          </a:stretch>
        </p:blipFill>
        <p:spPr bwMode="auto">
          <a:xfrm>
            <a:off x="1612900" y="1430033"/>
            <a:ext cx="1654745" cy="1090869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2000" endA="300" endPos="35000" dir="5400000" sy="-100000" algn="bl" rotWithShape="0"/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601917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24680" y="627797"/>
            <a:ext cx="8229600" cy="5370500"/>
          </a:xfrm>
        </p:spPr>
        <p:txBody>
          <a:bodyPr/>
          <a:lstStyle/>
          <a:p>
            <a:r>
              <a:rPr lang="pl-PL" dirty="0" smtClean="0"/>
              <a:t>Netezza limitations :</a:t>
            </a:r>
          </a:p>
          <a:p>
            <a:pPr lvl="1"/>
            <a:r>
              <a:rPr lang="pl-PL" dirty="0" smtClean="0"/>
              <a:t>No referential integrity in Netezza</a:t>
            </a:r>
          </a:p>
          <a:p>
            <a:pPr lvl="1"/>
            <a:r>
              <a:rPr lang="pl-PL" dirty="0" smtClean="0"/>
              <a:t>Lack of unique constraints / indexes</a:t>
            </a:r>
          </a:p>
          <a:p>
            <a:r>
              <a:rPr lang="pl-PL" dirty="0" smtClean="0"/>
              <a:t>No visibility over data quality currently</a:t>
            </a:r>
          </a:p>
          <a:p>
            <a:r>
              <a:rPr lang="pl-PL" dirty="0" smtClean="0"/>
              <a:t>CIL exposes common data to other applications either through STOVs or Common DMs – so it’s especially important to have good data at the start of pipline and not replicate issues downstream</a:t>
            </a:r>
          </a:p>
          <a:p>
            <a:r>
              <a:rPr lang="pl-PL" dirty="0" smtClean="0"/>
              <a:t>Some data areas are subject of business anxiety due to data quality, </a:t>
            </a:r>
            <a:r>
              <a:rPr lang="pl-PL" dirty="0" smtClean="0"/>
              <a:t>which </a:t>
            </a:r>
            <a:r>
              <a:rPr lang="pl-PL" dirty="0" smtClean="0"/>
              <a:t>undermine trust in EDW </a:t>
            </a:r>
            <a:endParaRPr lang="pl-PL" dirty="0" smtClean="0"/>
          </a:p>
          <a:p>
            <a:r>
              <a:rPr lang="pl-PL" dirty="0" smtClean="0"/>
              <a:t>No automatic way to validate quality of handed over source to CIL; without autometed method process  will be very time-consuming and inefficient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94AB315-E20E-4D83-BD01-AD3F862EE5EA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968388" y="130975"/>
            <a:ext cx="2655660" cy="338554"/>
          </a:xfrm>
          <a:prstGeom prst="rect">
            <a:avLst/>
          </a:prstGeom>
          <a:solidFill>
            <a:srgbClr val="62687C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pl-PL" sz="1600" b="1" dirty="0" smtClean="0">
                <a:solidFill>
                  <a:srgbClr val="FFFFFF"/>
                </a:solidFill>
              </a:rPr>
              <a:t>Reasons</a:t>
            </a:r>
            <a:endParaRPr lang="en-US" sz="16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045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94AB315-E20E-4D83-BD01-AD3F862EE5EA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8875" y="613457"/>
            <a:ext cx="8229600" cy="669432"/>
          </a:xfrm>
        </p:spPr>
        <p:txBody>
          <a:bodyPr/>
          <a:lstStyle/>
          <a:p>
            <a:r>
              <a:rPr lang="pl-PL" sz="2400" dirty="0" smtClean="0"/>
              <a:t>EDW_DATAVAULT</a:t>
            </a:r>
            <a:endParaRPr lang="pl-PL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2968388" y="130975"/>
            <a:ext cx="2655660" cy="338554"/>
          </a:xfrm>
          <a:prstGeom prst="rect">
            <a:avLst/>
          </a:prstGeom>
          <a:solidFill>
            <a:srgbClr val="62687C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pl-PL" sz="1600" b="1" dirty="0" smtClean="0">
                <a:solidFill>
                  <a:srgbClr val="FFFFFF"/>
                </a:solidFill>
              </a:rPr>
              <a:t>Data Vault area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aphicFrame>
        <p:nvGraphicFramePr>
          <p:cNvPr id="7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82998111"/>
              </p:ext>
            </p:extLst>
          </p:nvPr>
        </p:nvGraphicFramePr>
        <p:xfrm>
          <a:off x="489211" y="1412240"/>
          <a:ext cx="8229600" cy="2331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ata Vault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omment</a:t>
                      </a:r>
                      <a:endParaRPr lang="pl-PL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uplicates check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Hub</a:t>
                      </a:r>
                      <a:r>
                        <a:rPr lang="pl-PL" sz="20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keys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ommon hubs</a:t>
                      </a:r>
                      <a:endParaRPr lang="pl-PL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t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eparate hubs per source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ommon business key definition</a:t>
                      </a:r>
                      <a:endParaRPr lang="pl-PL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ll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ource use the same business key definition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Table </a:t>
                      </a:r>
                      <a:r>
                        <a:rPr lang="pl-PL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istribution 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re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there any skews? </a:t>
                      </a: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There</a:t>
                      </a:r>
                      <a:r>
                        <a:rPr lang="pl-PL" sz="20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should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be even distribution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997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94AB315-E20E-4D83-BD01-AD3F862EE5EA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8875" y="613457"/>
            <a:ext cx="8229600" cy="669432"/>
          </a:xfrm>
        </p:spPr>
        <p:txBody>
          <a:bodyPr/>
          <a:lstStyle/>
          <a:p>
            <a:r>
              <a:rPr lang="pl-PL" sz="2400" dirty="0" smtClean="0"/>
              <a:t>EDW_STOV</a:t>
            </a:r>
            <a:endParaRPr lang="pl-PL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2968388" y="130975"/>
            <a:ext cx="2655660" cy="338554"/>
          </a:xfrm>
          <a:prstGeom prst="rect">
            <a:avLst/>
          </a:prstGeom>
          <a:solidFill>
            <a:srgbClr val="62687C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pl-PL" sz="1600" b="1" dirty="0" smtClean="0">
                <a:solidFill>
                  <a:srgbClr val="FFFFFF"/>
                </a:solidFill>
              </a:rPr>
              <a:t>Data Vault area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aphicFrame>
        <p:nvGraphicFramePr>
          <p:cNvPr id="7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14483687"/>
              </p:ext>
            </p:extLst>
          </p:nvPr>
        </p:nvGraphicFramePr>
        <p:xfrm>
          <a:off x="489211" y="1412240"/>
          <a:ext cx="8229600" cy="3855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ata Vault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omment</a:t>
                      </a:r>
                      <a:endParaRPr lang="pl-PL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TOV</a:t>
                      </a: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_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CT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hould be properly defined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nly </a:t>
                      </a:r>
                      <a:r>
                        <a:rPr lang="pl-PL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V_CURRENT = 'Y'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TOV should contain only DV data, no business logic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business view should contain additional business logic</a:t>
                      </a:r>
                      <a:endParaRPr lang="pl-PL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hecksum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field 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existence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n 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atellite 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to speed up changes detection, instead of comparing field by field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Proper values</a:t>
                      </a:r>
                      <a:r>
                        <a:rPr lang="pl-PL" sz="20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for 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V_CURRENT</a:t>
                      </a:r>
                      <a:endParaRPr lang="pl-PL" sz="20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nly</a:t>
                      </a:r>
                      <a:r>
                        <a:rPr lang="pl-PL" sz="20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ne DV_CURRENT = 'Y' record per business key, and should be most recent</a:t>
                      </a:r>
                      <a:endParaRPr lang="pl-PL" sz="2000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Metadat</a:t>
                      </a:r>
                      <a:r>
                        <a:rPr lang="pl-PL" sz="20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 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fields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hould be present on </a:t>
                      </a: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ll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views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9491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94AB315-E20E-4D83-BD01-AD3F862EE5EA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968388" y="130975"/>
            <a:ext cx="2655660" cy="338554"/>
          </a:xfrm>
          <a:prstGeom prst="rect">
            <a:avLst/>
          </a:prstGeom>
          <a:solidFill>
            <a:srgbClr val="62687C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pl-PL" sz="1600" b="1" dirty="0" smtClean="0">
                <a:solidFill>
                  <a:srgbClr val="FFFFFF"/>
                </a:solidFill>
              </a:rPr>
              <a:t>Data Mart area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aphicFrame>
        <p:nvGraphicFramePr>
          <p:cNvPr id="7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81172669"/>
              </p:ext>
            </p:extLst>
          </p:nvPr>
        </p:nvGraphicFramePr>
        <p:xfrm>
          <a:off x="461915" y="784443"/>
          <a:ext cx="8229600" cy="3855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ata Vault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omment</a:t>
                      </a:r>
                      <a:endParaRPr lang="pl-PL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TOV</a:t>
                      </a: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_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CT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hould be properly defined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nly </a:t>
                      </a:r>
                      <a:r>
                        <a:rPr lang="pl-PL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V_CURRENT = 'Y'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TOV should contain only DV data, no business logic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business view should contain additional business logic</a:t>
                      </a:r>
                      <a:endParaRPr lang="pl-PL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hecksum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field 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existence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n 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atellite 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to speed up changes detection, instead of comparing field by field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Proper values</a:t>
                      </a:r>
                      <a:r>
                        <a:rPr lang="pl-PL" sz="20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for 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V_CURRENT</a:t>
                      </a:r>
                      <a:endParaRPr lang="pl-PL" sz="20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nly</a:t>
                      </a:r>
                      <a:r>
                        <a:rPr lang="pl-PL" sz="20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ne DV_CURRENT = 'Y' record per business key, and should be most recent</a:t>
                      </a:r>
                      <a:endParaRPr lang="pl-PL" sz="2000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Metadat</a:t>
                      </a:r>
                      <a:r>
                        <a:rPr lang="pl-PL" sz="20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 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fields </a:t>
                      </a: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hould be present on </a:t>
                      </a: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ll</a:t>
                      </a:r>
                      <a:r>
                        <a:rPr lang="en-US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pl-PL" sz="2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views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pl-PL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136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24680" y="627797"/>
            <a:ext cx="8229600" cy="5370500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Visibility into over EDW data quatlity</a:t>
            </a:r>
          </a:p>
          <a:p>
            <a:r>
              <a:rPr lang="pl-PL" dirty="0" smtClean="0"/>
              <a:t>Generic framework for other teams to implement more tests</a:t>
            </a:r>
          </a:p>
          <a:p>
            <a:r>
              <a:rPr lang="pl-PL" dirty="0" smtClean="0"/>
              <a:t>Corrective actions can be taken based on the results</a:t>
            </a:r>
          </a:p>
          <a:p>
            <a:r>
              <a:rPr lang="pl-PL" dirty="0"/>
              <a:t>Increasing business trust in </a:t>
            </a:r>
            <a:r>
              <a:rPr lang="pl-PL" dirty="0" smtClean="0"/>
              <a:t>EDW</a:t>
            </a:r>
          </a:p>
          <a:p>
            <a:r>
              <a:rPr lang="pl-PL" dirty="0" smtClean="0"/>
              <a:t>Continues screening of data and hence quicker response time to the issues</a:t>
            </a:r>
          </a:p>
          <a:p>
            <a:r>
              <a:rPr lang="pl-PL" dirty="0" smtClean="0"/>
              <a:t>Trends of data quaility over time</a:t>
            </a:r>
          </a:p>
          <a:p>
            <a:r>
              <a:rPr lang="pl-PL" dirty="0"/>
              <a:t>Better data integration through consistent business key defitnitinos acros application </a:t>
            </a:r>
            <a:r>
              <a:rPr lang="pl-PL" dirty="0" smtClean="0"/>
              <a:t>sources</a:t>
            </a:r>
          </a:p>
          <a:p>
            <a:r>
              <a:rPr lang="pl-PL" dirty="0" smtClean="0"/>
              <a:t>ETL recommendations to DRS and rest of the BI teams that would prevent data quality </a:t>
            </a:r>
            <a:r>
              <a:rPr lang="pl-PL" dirty="0" smtClean="0"/>
              <a:t>issues</a:t>
            </a:r>
          </a:p>
          <a:p>
            <a:r>
              <a:rPr lang="pl-PL" dirty="0" smtClean="0"/>
              <a:t>Automatic screens of  to be handed over sources</a:t>
            </a:r>
            <a:endParaRPr lang="pl-PL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94AB315-E20E-4D83-BD01-AD3F862EE5EA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968388" y="130975"/>
            <a:ext cx="2655660" cy="338554"/>
          </a:xfrm>
          <a:prstGeom prst="rect">
            <a:avLst/>
          </a:prstGeom>
          <a:solidFill>
            <a:srgbClr val="62687C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pl-PL" sz="1600" b="1" dirty="0" smtClean="0">
                <a:solidFill>
                  <a:srgbClr val="FFFFFF"/>
                </a:solidFill>
              </a:rPr>
              <a:t>Data quality benefits</a:t>
            </a:r>
            <a:endParaRPr lang="en-US" sz="16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81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PDM Academy 2014 - Training week planning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Eicher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Black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_White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_20150000 VPS4IT presentation template v7">
  <a:themeElements>
    <a:clrScheme name="Current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E0E4E9"/>
      </a:accent1>
      <a:accent2>
        <a:srgbClr val="9EACBC"/>
      </a:accent2>
      <a:accent3>
        <a:srgbClr val="627890"/>
      </a:accent3>
      <a:accent4>
        <a:srgbClr val="101C89"/>
      </a:accent4>
      <a:accent5>
        <a:srgbClr val="FF6600"/>
      </a:accent5>
      <a:accent6>
        <a:srgbClr val="808080"/>
      </a:accent6>
      <a:hlink>
        <a:srgbClr val="627890"/>
      </a:hlink>
      <a:folHlink>
        <a:srgbClr val="101C8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616161"/>
        </a:dk2>
        <a:lt2>
          <a:srgbClr val="9D9E9C"/>
        </a:lt2>
        <a:accent1>
          <a:srgbClr val="E0E4E9"/>
        </a:accent1>
        <a:accent2>
          <a:srgbClr val="9EACBC"/>
        </a:accent2>
        <a:accent3>
          <a:srgbClr val="627890"/>
        </a:accent3>
        <a:accent4>
          <a:srgbClr val="101C89"/>
        </a:accent4>
        <a:accent5>
          <a:srgbClr val="FF6600"/>
        </a:accent5>
        <a:accent6>
          <a:srgbClr val="808080"/>
        </a:accent6>
        <a:hlink>
          <a:srgbClr val="627890"/>
        </a:hlink>
        <a:folHlink>
          <a:srgbClr val="101C8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hite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Globe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Bridge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Volvo Trucks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Front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Renault Trucks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Mack Trucks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UD Trucks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AD8F86575512449AA14B0490F2556E" ma:contentTypeVersion="0" ma:contentTypeDescription="Create a new document." ma:contentTypeScope="" ma:versionID="d34a84e234231143b244c43910af846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3D11009-1B6D-4E67-9BD7-3FAF8929F65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026C10-678C-4782-ACE2-5521BFDC1135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7873878E-DCAC-4C6C-8E2D-F4D9BD104D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DM Academy 2014 - Training week planning</Template>
  <TotalTime>0</TotalTime>
  <Words>409</Words>
  <Application>Microsoft Office PowerPoint</Application>
  <PresentationFormat>On-screen Show (4:3)</PresentationFormat>
  <Paragraphs>73</Paragraphs>
  <Slides>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PDM Academy 2014 - Training week planning</vt:lpstr>
      <vt:lpstr>White_Volvo Group Trucks Technology</vt:lpstr>
      <vt:lpstr>Globe_Volvo Group Trucks Technology</vt:lpstr>
      <vt:lpstr>Bridge_Volvo Group Trucks Technology</vt:lpstr>
      <vt:lpstr>Volvo Trucks_Volvo Group Trucks Technology</vt:lpstr>
      <vt:lpstr>Front_Volvo Group Trucks Technology</vt:lpstr>
      <vt:lpstr>Renault Trucks_Volvo Group Trucks Technology</vt:lpstr>
      <vt:lpstr>Mack Trucks_Volvo Group Trucks Technology</vt:lpstr>
      <vt:lpstr>UD Trucks_Volvo Group Trucks Technology</vt:lpstr>
      <vt:lpstr>Eicher_Volvo Group Trucks Technology</vt:lpstr>
      <vt:lpstr>Black</vt:lpstr>
      <vt:lpstr>1_White_Volvo Group Trucks Technology</vt:lpstr>
      <vt:lpstr>1_20150000 VPS4IT presentation template v7</vt:lpstr>
      <vt:lpstr>think-cell Slide</vt:lpstr>
      <vt:lpstr> EDW – Data Quality</vt:lpstr>
      <vt:lpstr>PowerPoint Presentation</vt:lpstr>
      <vt:lpstr>PowerPoint Presentation</vt:lpstr>
      <vt:lpstr>EDW_DATAVAULT</vt:lpstr>
      <vt:lpstr>EDW_STOV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2T10:45:30Z</dcterms:created>
  <dcterms:modified xsi:type="dcterms:W3CDTF">2018-01-05T08:12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AD8F86575512449AA14B0490F2556E</vt:lpwstr>
  </property>
</Properties>
</file>